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1"/>
  </p:notesMasterIdLst>
  <p:sldIdLst>
    <p:sldId id="398" r:id="rId2"/>
    <p:sldId id="459" r:id="rId3"/>
    <p:sldId id="461" r:id="rId4"/>
    <p:sldId id="465" r:id="rId5"/>
    <p:sldId id="463" r:id="rId6"/>
    <p:sldId id="464" r:id="rId7"/>
    <p:sldId id="434" r:id="rId8"/>
    <p:sldId id="432" r:id="rId9"/>
    <p:sldId id="433" r:id="rId10"/>
    <p:sldId id="412" r:id="rId11"/>
    <p:sldId id="419" r:id="rId12"/>
    <p:sldId id="482" r:id="rId13"/>
    <p:sldId id="483" r:id="rId14"/>
    <p:sldId id="484" r:id="rId15"/>
    <p:sldId id="486" r:id="rId16"/>
    <p:sldId id="487" r:id="rId17"/>
    <p:sldId id="488" r:id="rId18"/>
    <p:sldId id="489" r:id="rId19"/>
    <p:sldId id="490" r:id="rId20"/>
    <p:sldId id="491" r:id="rId21"/>
    <p:sldId id="492" r:id="rId22"/>
    <p:sldId id="402" r:id="rId23"/>
    <p:sldId id="404" r:id="rId24"/>
    <p:sldId id="403" r:id="rId25"/>
    <p:sldId id="453" r:id="rId26"/>
    <p:sldId id="454" r:id="rId27"/>
    <p:sldId id="455" r:id="rId28"/>
    <p:sldId id="456" r:id="rId29"/>
    <p:sldId id="443" r:id="rId30"/>
    <p:sldId id="445" r:id="rId31"/>
    <p:sldId id="405" r:id="rId32"/>
    <p:sldId id="447" r:id="rId33"/>
    <p:sldId id="448" r:id="rId34"/>
    <p:sldId id="449" r:id="rId35"/>
    <p:sldId id="450" r:id="rId36"/>
    <p:sldId id="479" r:id="rId37"/>
    <p:sldId id="480" r:id="rId38"/>
    <p:sldId id="406" r:id="rId39"/>
    <p:sldId id="457" r:id="rId40"/>
    <p:sldId id="473" r:id="rId41"/>
    <p:sldId id="474" r:id="rId42"/>
    <p:sldId id="475" r:id="rId43"/>
    <p:sldId id="476" r:id="rId44"/>
    <p:sldId id="477" r:id="rId45"/>
    <p:sldId id="408" r:id="rId46"/>
    <p:sldId id="458" r:id="rId47"/>
    <p:sldId id="407" r:id="rId48"/>
    <p:sldId id="470" r:id="rId49"/>
    <p:sldId id="471" r:id="rId50"/>
    <p:sldId id="481" r:id="rId51"/>
    <p:sldId id="478" r:id="rId52"/>
    <p:sldId id="401" r:id="rId53"/>
    <p:sldId id="409" r:id="rId54"/>
    <p:sldId id="410" r:id="rId55"/>
    <p:sldId id="418" r:id="rId56"/>
    <p:sldId id="451" r:id="rId57"/>
    <p:sldId id="466" r:id="rId58"/>
    <p:sldId id="468" r:id="rId59"/>
    <p:sldId id="469" r:id="rId60"/>
  </p:sldIdLst>
  <p:sldSz cx="9144000" cy="6858000" type="screen4x3"/>
  <p:notesSz cx="6794500" cy="9931400"/>
  <p:custDataLst>
    <p:tags r:id="rId6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00CC00"/>
    <a:srgbClr val="99FFCC"/>
    <a:srgbClr val="DDFFDD"/>
    <a:srgbClr val="CCFFCC"/>
    <a:srgbClr val="FFFF99"/>
    <a:srgbClr val="00FF00"/>
    <a:srgbClr val="6699FF"/>
    <a:srgbClr val="4ED24E"/>
    <a:srgbClr val="66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87293" autoAdjust="0"/>
  </p:normalViewPr>
  <p:slideViewPr>
    <p:cSldViewPr showGuides="1">
      <p:cViewPr varScale="1">
        <p:scale>
          <a:sx n="107" d="100"/>
          <a:sy n="107" d="100"/>
        </p:scale>
        <p:origin x="2094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0-16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9372</Words>
  <Application>Microsoft Office PowerPoint</Application>
  <PresentationFormat>Bildschirmpräsentation (4:3)</PresentationFormat>
  <Paragraphs>2591</Paragraphs>
  <Slides>59</Slides>
  <Notes>4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9</vt:i4>
      </vt:variant>
    </vt:vector>
  </HeadingPairs>
  <TitlesOfParts>
    <vt:vector size="65" baseType="lpstr">
      <vt:lpstr>Arial</vt:lpstr>
      <vt:lpstr>Arial Black</vt:lpstr>
      <vt:lpstr>Calibri</vt:lpstr>
      <vt:lpstr>Wingdings</vt:lpstr>
      <vt:lpstr>Neutrale Formatvorlage</vt:lpstr>
      <vt:lpstr>think-cell Slide</vt:lpstr>
      <vt:lpstr>Variable Model Introduction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39</cp:revision>
  <cp:lastPrinted>2014-03-14T08:12:43Z</cp:lastPrinted>
  <dcterms:created xsi:type="dcterms:W3CDTF">2013-11-22T07:35:27Z</dcterms:created>
  <dcterms:modified xsi:type="dcterms:W3CDTF">2020-10-16T21:29:35Z</dcterms:modified>
</cp:coreProperties>
</file>